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8" r:id="rId4"/>
    <p:sldMasterId id="2147483724" r:id="rId5"/>
  </p:sldMasterIdLst>
  <p:notesMasterIdLst>
    <p:notesMasterId r:id="rId13"/>
  </p:notesMasterIdLst>
  <p:handoutMasterIdLst>
    <p:handoutMasterId r:id="rId14"/>
  </p:handoutMasterIdLst>
  <p:sldIdLst>
    <p:sldId id="350" r:id="rId6"/>
    <p:sldId id="374" r:id="rId7"/>
    <p:sldId id="386" r:id="rId8"/>
    <p:sldId id="387" r:id="rId9"/>
    <p:sldId id="389" r:id="rId10"/>
    <p:sldId id="390" r:id="rId11"/>
    <p:sldId id="391" r:id="rId12"/>
  </p:sldIdLst>
  <p:sldSz cx="10693400" cy="6011863"/>
  <p:notesSz cx="6797675" cy="9926638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5">
          <p15:clr>
            <a:srgbClr val="A4A3A4"/>
          </p15:clr>
        </p15:guide>
        <p15:guide id="2" pos="282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6699FF"/>
    <a:srgbClr val="9900FF"/>
    <a:srgbClr val="6600CC"/>
    <a:srgbClr val="33CC33"/>
    <a:srgbClr val="FF0000"/>
    <a:srgbClr val="FFFF66"/>
    <a:srgbClr val="FFFF99"/>
    <a:srgbClr val="0066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091" autoAdjust="0"/>
    <p:restoredTop sz="97912" autoAdjust="0"/>
  </p:normalViewPr>
  <p:slideViewPr>
    <p:cSldViewPr>
      <p:cViewPr varScale="1">
        <p:scale>
          <a:sx n="90" d="100"/>
          <a:sy n="90" d="100"/>
        </p:scale>
        <p:origin x="70" y="31"/>
      </p:cViewPr>
      <p:guideLst>
        <p:guide orient="horz" pos="1575"/>
        <p:guide pos="282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41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/>
          <a:lstStyle>
            <a:lvl1pPr algn="r">
              <a:defRPr sz="1200"/>
            </a:lvl1pPr>
          </a:lstStyle>
          <a:p>
            <a:fld id="{D9B0EF4E-BAB3-48FA-B03F-5ECA0D5E9E36}" type="datetimeFigureOut">
              <a:rPr lang="de-DE" smtClean="0"/>
              <a:pPr/>
              <a:t>08.11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 anchor="b"/>
          <a:lstStyle>
            <a:lvl1pPr algn="r">
              <a:defRPr sz="1200"/>
            </a:lvl1pPr>
          </a:lstStyle>
          <a:p>
            <a:fld id="{E7B0629E-95CF-43C9-9F5F-9E9A3552832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56382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/>
          <a:lstStyle>
            <a:lvl1pPr algn="r">
              <a:defRPr sz="1200"/>
            </a:lvl1pPr>
          </a:lstStyle>
          <a:p>
            <a:fld id="{8F60A199-63A4-4429-B7A8-F41B6617AE02}" type="datetimeFigureOut">
              <a:rPr lang="en-US" smtClean="0"/>
              <a:pPr/>
              <a:t>11/8/2017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4538"/>
            <a:ext cx="66230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203" tIns="44102" rIns="88203" bIns="44102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88203" tIns="44102" rIns="88203" bIns="44102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88203" tIns="44102" rIns="88203" bIns="44102" rtlCol="0" anchor="b"/>
          <a:lstStyle>
            <a:lvl1pPr algn="r">
              <a:defRPr sz="1200"/>
            </a:lvl1pPr>
          </a:lstStyle>
          <a:p>
            <a:fld id="{EDA1EC7A-EA34-425F-96C3-EEFCC49106D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284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2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5600" y="708025"/>
            <a:ext cx="6149975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7359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3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5600" y="708025"/>
            <a:ext cx="6149975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7458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4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5600" y="708025"/>
            <a:ext cx="6149975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5408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5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5600" y="708025"/>
            <a:ext cx="6149975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6733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6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5600" y="708025"/>
            <a:ext cx="6149975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3714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7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7188" y="708025"/>
            <a:ext cx="6146800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9548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8.emf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11.jpg"/><Relationship Id="rId5" Type="http://schemas.openxmlformats.org/officeDocument/2006/relationships/tags" Target="../tags/tag51.xml"/><Relationship Id="rId10" Type="http://schemas.openxmlformats.org/officeDocument/2006/relationships/image" Target="../media/image10.jp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jpe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96337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IMS5994_IMS5929_KSB_Renderingbild_Halle_v09_B050_300dpi_kl25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>
          <a:xfrm>
            <a:off x="0" y="0"/>
            <a:ext cx="10693400" cy="4867466"/>
          </a:xfrm>
          <a:prstGeom prst="rect">
            <a:avLst/>
          </a:prstGeom>
        </p:spPr>
      </p:pic>
      <p:pic>
        <p:nvPicPr>
          <p:cNvPr id="15" name="Grafik 14" descr="PPT_KSB_130702.emf"/>
          <p:cNvPicPr>
            <a:picLocks noChangeAspect="1"/>
          </p:cNvPicPr>
          <p:nvPr userDrawn="1"/>
        </p:nvPicPr>
        <p:blipFill>
          <a:blip r:embed="rId7" cstate="print"/>
          <a:srcRect t="60695"/>
          <a:stretch>
            <a:fillRect/>
          </a:stretch>
        </p:blipFill>
        <p:spPr>
          <a:xfrm>
            <a:off x="0" y="3648873"/>
            <a:ext cx="10693400" cy="2362990"/>
          </a:xfrm>
          <a:prstGeom prst="rect">
            <a:avLst/>
          </a:prstGeom>
        </p:spPr>
      </p:pic>
      <p:pic>
        <p:nvPicPr>
          <p:cNvPr id="16" name="Picture 34" descr="LOGO_KSB_4C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8600" y="4934757"/>
            <a:ext cx="1285884" cy="564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feld 16"/>
          <p:cNvSpPr txBox="1"/>
          <p:nvPr userDrawn="1"/>
        </p:nvSpPr>
        <p:spPr>
          <a:xfrm>
            <a:off x="417478" y="3791749"/>
            <a:ext cx="711442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noProof="0" dirty="0">
                <a:solidFill>
                  <a:srgbClr val="3C3C3B"/>
                </a:solidFill>
                <a:latin typeface="+mn-lt"/>
                <a:cs typeface="Arial"/>
              </a:rPr>
              <a:t>Technology that</a:t>
            </a:r>
            <a:r>
              <a:rPr lang="en-US" sz="3000" b="1" noProof="0" dirty="0">
                <a:solidFill>
                  <a:srgbClr val="D84829"/>
                </a:solidFill>
                <a:latin typeface="+mn-lt"/>
                <a:cs typeface="Arial"/>
              </a:rPr>
              <a:t> makes its</a:t>
            </a:r>
            <a:r>
              <a:rPr lang="en-US" sz="3000" b="1" baseline="0" noProof="0" dirty="0">
                <a:solidFill>
                  <a:srgbClr val="D84829"/>
                </a:solidFill>
                <a:latin typeface="+mn-lt"/>
                <a:cs typeface="Arial"/>
              </a:rPr>
              <a:t> mark</a:t>
            </a:r>
            <a:endParaRPr lang="en-US" sz="3000" b="1" noProof="0" dirty="0">
              <a:solidFill>
                <a:srgbClr val="D84829"/>
              </a:solidFill>
              <a:latin typeface="Arial"/>
              <a:cs typeface="Arial"/>
            </a:endParaRPr>
          </a:p>
        </p:txBody>
      </p:sp>
      <p:pic>
        <p:nvPicPr>
          <p:cNvPr id="8" name="Grafik 7" descr="Claim_130423_en_intranet.jpg"/>
          <p:cNvPicPr>
            <a:picLocks noChangeAspect="1"/>
          </p:cNvPicPr>
          <p:nvPr userDrawn="1"/>
        </p:nvPicPr>
        <p:blipFill>
          <a:blip r:embed="rId9" cstate="print"/>
          <a:srcRect l="3571" t="22034" b="21429"/>
          <a:stretch>
            <a:fillRect/>
          </a:stretch>
        </p:blipFill>
        <p:spPr>
          <a:xfrm>
            <a:off x="378148" y="5166171"/>
            <a:ext cx="2232248" cy="40271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77342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Image Grey/White an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91388" y="485651"/>
            <a:ext cx="3092450" cy="122413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91388" y="1781175"/>
            <a:ext cx="3095625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" name="Rechteck 2"/>
          <p:cNvSpPr/>
          <p:nvPr/>
        </p:nvSpPr>
        <p:spPr>
          <a:xfrm>
            <a:off x="161924" y="196850"/>
            <a:ext cx="6697663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8" name="Rechteck 7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9" name="Rechteck 8"/>
          <p:cNvSpPr/>
          <p:nvPr/>
        </p:nvSpPr>
        <p:spPr>
          <a:xfrm>
            <a:off x="161924" y="196850"/>
            <a:ext cx="6697663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10" name="Rechteck 9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1" name="Rechteck 10"/>
          <p:cNvSpPr/>
          <p:nvPr/>
        </p:nvSpPr>
        <p:spPr>
          <a:xfrm>
            <a:off x="161924" y="196850"/>
            <a:ext cx="6697663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12" name="Rechteck 11"/>
          <p:cNvSpPr/>
          <p:nvPr userDrawn="1"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Rechteck 12"/>
          <p:cNvSpPr/>
          <p:nvPr userDrawn="1"/>
        </p:nvSpPr>
        <p:spPr>
          <a:xfrm>
            <a:off x="161924" y="196850"/>
            <a:ext cx="6697663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65381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Image Grey/White and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5794" y="485651"/>
            <a:ext cx="6478044" cy="122413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6540" y="1781175"/>
            <a:ext cx="6480473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3" name="Rechteck 2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Rechteck 7"/>
          <p:cNvSpPr/>
          <p:nvPr/>
        </p:nvSpPr>
        <p:spPr>
          <a:xfrm>
            <a:off x="161925" y="196850"/>
            <a:ext cx="3312319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9" name="Rechteck 8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0" name="Rechteck 9"/>
          <p:cNvSpPr/>
          <p:nvPr/>
        </p:nvSpPr>
        <p:spPr>
          <a:xfrm>
            <a:off x="161925" y="196850"/>
            <a:ext cx="3312319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11" name="Rechteck 10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Rechteck 11"/>
          <p:cNvSpPr/>
          <p:nvPr/>
        </p:nvSpPr>
        <p:spPr>
          <a:xfrm>
            <a:off x="161925" y="196850"/>
            <a:ext cx="3312319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Rechteck 13"/>
          <p:cNvSpPr/>
          <p:nvPr userDrawn="1"/>
        </p:nvSpPr>
        <p:spPr>
          <a:xfrm>
            <a:off x="161925" y="196850"/>
            <a:ext cx="3312319" cy="51847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676164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22030" y="485651"/>
            <a:ext cx="9861808" cy="122413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21508" y="1781175"/>
            <a:ext cx="9865506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A4C6BEF-B87A-4A52-8AA9-E4DA2E6278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52255" y="4643945"/>
            <a:ext cx="731583" cy="73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0717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22030" y="485651"/>
            <a:ext cx="9861808" cy="122413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566787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47CF6F4-2BD6-4A81-A238-D333A02B982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192" y="-2454"/>
            <a:ext cx="7324401" cy="4888692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EAE0D61-A55C-412E-9EFB-B13DA8FEF26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1847" y="0"/>
            <a:ext cx="3391553" cy="4932666"/>
          </a:xfrm>
          <a:prstGeom prst="rect">
            <a:avLst/>
          </a:prstGeom>
        </p:spPr>
      </p:pic>
      <p:pic>
        <p:nvPicPr>
          <p:cNvPr id="41" name="Grafik 40" descr="PPT_KSB_130702_l.emf"/>
          <p:cNvPicPr>
            <a:picLocks noChangeAspect="1"/>
          </p:cNvPicPr>
          <p:nvPr userDrawn="1"/>
        </p:nvPicPr>
        <p:blipFill>
          <a:blip r:embed="rId12" cstate="print"/>
          <a:srcRect l="2165" t="59176" r="480" b="1076"/>
          <a:stretch>
            <a:fillRect/>
          </a:stretch>
        </p:blipFill>
        <p:spPr>
          <a:xfrm>
            <a:off x="-22192" y="3611400"/>
            <a:ext cx="10733484" cy="2434428"/>
          </a:xfrm>
          <a:prstGeom prst="rect">
            <a:avLst/>
          </a:prstGeom>
        </p:spPr>
      </p:pic>
      <p:grpSp>
        <p:nvGrpSpPr>
          <p:cNvPr id="2" name="Gruppieren 24"/>
          <p:cNvGrpSpPr/>
          <p:nvPr/>
        </p:nvGrpSpPr>
        <p:grpSpPr>
          <a:xfrm>
            <a:off x="6714852" y="411163"/>
            <a:ext cx="3745186" cy="5495925"/>
            <a:chOff x="6714852" y="411163"/>
            <a:chExt cx="3745186" cy="5495925"/>
          </a:xfrm>
        </p:grpSpPr>
        <p:sp>
          <p:nvSpPr>
            <p:cNvPr id="26" name="Line 41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7" name="Line 4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8" name="Line 43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29" name="Line 44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30" name="Line 45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7177088" y="214183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31" name="Line 46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  <p:sp>
          <p:nvSpPr>
            <p:cNvPr id="32" name="Line 47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/>
            </a:p>
          </p:txBody>
        </p:sp>
      </p:grpSp>
      <p:sp>
        <p:nvSpPr>
          <p:cNvPr id="23" name="Untertitel 2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>
          <a:xfrm>
            <a:off x="522164" y="4520837"/>
            <a:ext cx="7848872" cy="307777"/>
          </a:xfr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0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Changemanagement </a:t>
            </a:r>
            <a:r>
              <a:rPr lang="de-DE" noProof="0" dirty="0" err="1"/>
              <a:t>basics</a:t>
            </a:r>
            <a:r>
              <a:rPr lang="de-DE" noProof="0" dirty="0"/>
              <a:t> &amp; </a:t>
            </a:r>
            <a:r>
              <a:rPr lang="de-DE" noProof="0" dirty="0" err="1"/>
              <a:t>leadership</a:t>
            </a:r>
            <a:r>
              <a:rPr lang="de-DE" noProof="0" dirty="0"/>
              <a:t> </a:t>
            </a:r>
            <a:r>
              <a:rPr lang="de-DE" noProof="0" dirty="0" err="1"/>
              <a:t>challenge</a:t>
            </a:r>
            <a:endParaRPr lang="de-DE" noProof="0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1"/>
          </p:nvPr>
        </p:nvSpPr>
        <p:spPr>
          <a:xfrm>
            <a:off x="522288" y="5310188"/>
            <a:ext cx="7848748" cy="2880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baseline="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7062015 – Wolfgang P. Schmitt</a:t>
            </a:r>
          </a:p>
        </p:txBody>
      </p:sp>
    </p:spTree>
    <p:extLst>
      <p:ext uri="{BB962C8B-B14F-4D97-AF65-F5344CB8AC3E}">
        <p14:creationId xmlns:p14="http://schemas.microsoft.com/office/powerpoint/2010/main" val="24188289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7483475" y="5584667"/>
            <a:ext cx="2062163" cy="24622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/>
              <a:t>KANBAN - Retrospektive         -     www.changetogrow.de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46E25DC-9DDB-4E8A-80B9-77FA0769BCAF}" type="slidenum">
              <a:rPr lang="en-GB" altLang="de-DE"/>
              <a:pPr/>
              <a:t>‹Nr.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39873848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688" y="1866900"/>
            <a:ext cx="9090025" cy="12890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3375" y="3406775"/>
            <a:ext cx="7486650" cy="15367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550" y="3862388"/>
            <a:ext cx="9090025" cy="11953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550" y="2547938"/>
            <a:ext cx="9090025" cy="131445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8163" y="1784350"/>
            <a:ext cx="4846637" cy="358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37200" y="1784350"/>
            <a:ext cx="4846638" cy="358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 descr="PPT_Vorlage_2.jpg"/>
          <p:cNvPicPr>
            <a:picLocks noChangeAspect="1"/>
          </p:cNvPicPr>
          <p:nvPr userDrawn="1"/>
        </p:nvPicPr>
        <p:blipFill>
          <a:blip r:embed="rId4" cstate="print"/>
          <a:srcRect l="5021" t="8023" r="3348" b="27577"/>
          <a:stretch>
            <a:fillRect/>
          </a:stretch>
        </p:blipFill>
        <p:spPr>
          <a:xfrm>
            <a:off x="0" y="0"/>
            <a:ext cx="10693400" cy="4283670"/>
          </a:xfrm>
          <a:prstGeom prst="rect">
            <a:avLst/>
          </a:prstGeom>
        </p:spPr>
      </p:pic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86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33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 descr="PPT_KSB_130702_l.emf"/>
          <p:cNvPicPr>
            <a:picLocks noChangeAspect="1"/>
          </p:cNvPicPr>
          <p:nvPr userDrawn="1"/>
        </p:nvPicPr>
        <p:blipFill>
          <a:blip r:embed="rId7" cstate="print"/>
          <a:srcRect l="2165" t="59176" r="480" b="1076"/>
          <a:stretch>
            <a:fillRect/>
          </a:stretch>
        </p:blipFill>
        <p:spPr>
          <a:xfrm>
            <a:off x="0" y="3577435"/>
            <a:ext cx="10693400" cy="2434428"/>
          </a:xfrm>
          <a:prstGeom prst="rect">
            <a:avLst/>
          </a:prstGeom>
        </p:spPr>
      </p:pic>
      <p:pic>
        <p:nvPicPr>
          <p:cNvPr id="11" name="Picture 34" descr="LOGO_KSB_4C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8600" y="4934757"/>
            <a:ext cx="1285884" cy="564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el 1"/>
          <p:cNvSpPr>
            <a:spLocks noGrp="1"/>
          </p:cNvSpPr>
          <p:nvPr>
            <p:ph type="ctrTitle" hasCustomPrompt="1"/>
          </p:nvPr>
        </p:nvSpPr>
        <p:spPr>
          <a:xfrm>
            <a:off x="522164" y="3842319"/>
            <a:ext cx="7848872" cy="461665"/>
          </a:xfrm>
        </p:spPr>
        <p:txBody>
          <a:bodyPr wrap="square" lIns="0" tIns="0" rIns="0" bIns="0" anchor="t" anchorCtr="0">
            <a:spAutoFit/>
          </a:bodyPr>
          <a:lstStyle>
            <a:lvl1pPr>
              <a:defRPr sz="3000" b="1" baseline="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Title of presentation, Arial, 30pt, black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22164" y="4520837"/>
            <a:ext cx="7848872" cy="307777"/>
          </a:xfr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00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Optionally with subline. Max. doublespaced. Arial, 20 pt, black</a:t>
            </a:r>
          </a:p>
        </p:txBody>
      </p:sp>
      <p:sp>
        <p:nvSpPr>
          <p:cNvPr id="12" name="Textplatzhalter 37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8" y="5310188"/>
            <a:ext cx="7848748" cy="28803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baseline="0">
                <a:solidFill>
                  <a:schemeClr val="tx2"/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of author if required. Arial, 8 pt, bl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e if required, Arial, 8 pt, black</a:t>
            </a:r>
          </a:p>
        </p:txBody>
      </p:sp>
    </p:spTree>
    <p:extLst>
      <p:ext uri="{BB962C8B-B14F-4D97-AF65-F5344CB8AC3E}">
        <p14:creationId xmlns:p14="http://schemas.microsoft.com/office/powerpoint/2010/main" val="4577342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241300"/>
            <a:ext cx="9623425" cy="100171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988" y="1346200"/>
            <a:ext cx="4724400" cy="5603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988" y="1906588"/>
            <a:ext cx="4724400" cy="34639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425" y="1346200"/>
            <a:ext cx="4725988" cy="56038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425" y="1906588"/>
            <a:ext cx="4725988" cy="34639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88" y="239713"/>
            <a:ext cx="3517900" cy="101758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1475" y="239713"/>
            <a:ext cx="5976938" cy="5130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988" y="1257300"/>
            <a:ext cx="3517900" cy="411321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500" y="4208463"/>
            <a:ext cx="6416675" cy="49688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500" y="536575"/>
            <a:ext cx="6416675" cy="360838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500" y="4705350"/>
            <a:ext cx="6416675" cy="7048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23213" y="487363"/>
            <a:ext cx="2460625" cy="48847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8163" y="487363"/>
            <a:ext cx="7232650" cy="48847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6540" y="485651"/>
            <a:ext cx="6477298" cy="122413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Table of contents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6576" y="1781795"/>
            <a:ext cx="6480438" cy="3590306"/>
          </a:xfrm>
        </p:spPr>
        <p:txBody>
          <a:bodyPr/>
          <a:lstStyle>
            <a:lvl1pPr marL="269875" indent="-269875">
              <a:buFont typeface="+mj-lt"/>
              <a:buAutoNum type="arabicPeriod"/>
              <a:defRPr baseline="0">
                <a:solidFill>
                  <a:schemeClr val="tx2"/>
                </a:solidFill>
              </a:defRPr>
            </a:lvl1pPr>
            <a:lvl2pPr marL="539750" indent="-269875">
              <a:spcBef>
                <a:spcPts val="400"/>
              </a:spcBef>
              <a:buClrTx/>
              <a:buFont typeface="Arial" pitchFamily="34" charset="0"/>
              <a:buChar char="–"/>
              <a:defRPr>
                <a:solidFill>
                  <a:schemeClr val="tx2"/>
                </a:solidFill>
              </a:defRPr>
            </a:lvl2pPr>
            <a:lvl3pPr marL="612775" indent="-342900">
              <a:buFont typeface="+mj-lt"/>
              <a:buAutoNum type="arabicPeriod"/>
              <a:defRPr/>
            </a:lvl3pPr>
            <a:lvl4pPr marL="882650" indent="-342900">
              <a:buFont typeface="+mj-lt"/>
              <a:buAutoNum type="arabicPeriod"/>
              <a:defRPr/>
            </a:lvl4pPr>
            <a:lvl5pPr marL="2171700" indent="-342900">
              <a:buFont typeface="+mj-lt"/>
              <a:buAutoNum type="arabicPeriod"/>
              <a:defRPr/>
            </a:lvl5pPr>
          </a:lstStyle>
          <a:p>
            <a:r>
              <a:rPr lang="en-US" noProof="0"/>
              <a:t>Chapter, Arial, 18 pt, black</a:t>
            </a:r>
          </a:p>
          <a:p>
            <a:r>
              <a:rPr lang="en-US" noProof="0"/>
              <a:t>Chapter</a:t>
            </a:r>
          </a:p>
          <a:p>
            <a:r>
              <a:rPr lang="en-US" noProof="0"/>
              <a:t>Chapter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1"/>
            <a:r>
              <a:rPr lang="en-US" noProof="0"/>
              <a:t>Level 1</a:t>
            </a:r>
          </a:p>
          <a:p>
            <a:r>
              <a:rPr lang="en-US" noProof="0"/>
              <a:t>Chapter</a:t>
            </a:r>
          </a:p>
        </p:txBody>
      </p:sp>
      <p:grpSp>
        <p:nvGrpSpPr>
          <p:cNvPr id="15" name="Group 40"/>
          <p:cNvGrpSpPr>
            <a:grpSpLocks/>
          </p:cNvGrpSpPr>
          <p:nvPr/>
        </p:nvGrpSpPr>
        <p:grpSpPr bwMode="auto">
          <a:xfrm>
            <a:off x="3402012" y="411163"/>
            <a:ext cx="7058026" cy="5495925"/>
            <a:chOff x="2143" y="259"/>
            <a:chExt cx="4446" cy="3462"/>
          </a:xfrm>
        </p:grpSpPr>
        <p:sp>
          <p:nvSpPr>
            <p:cNvPr id="16" name="Line 41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7" name="Line 4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8" name="Line 43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9" name="Line 44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0" name="Line 45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1" name="Line 46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2" name="Line 47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2270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grpSp>
        <p:nvGrpSpPr>
          <p:cNvPr id="14" name="Group 40"/>
          <p:cNvGrpSpPr>
            <a:grpSpLocks/>
          </p:cNvGrpSpPr>
          <p:nvPr userDrawn="1"/>
        </p:nvGrpSpPr>
        <p:grpSpPr bwMode="auto">
          <a:xfrm>
            <a:off x="3402012" y="411163"/>
            <a:ext cx="7058026" cy="5495925"/>
            <a:chOff x="2143" y="259"/>
            <a:chExt cx="4446" cy="3462"/>
          </a:xfrm>
        </p:grpSpPr>
        <p:sp>
          <p:nvSpPr>
            <p:cNvPr id="23" name="Line 41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4" name="Line 4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5" name="Line 43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6" name="Line 44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7" name="Line 45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8" name="Line 46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9" name="Line 47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V="1">
              <a:off x="2270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35103778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Image an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91388" y="485651"/>
            <a:ext cx="3092450" cy="122413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91388" y="1781175"/>
            <a:ext cx="3095625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grpSp>
        <p:nvGrpSpPr>
          <p:cNvPr id="23" name="Gruppieren 22"/>
          <p:cNvGrpSpPr/>
          <p:nvPr/>
        </p:nvGrpSpPr>
        <p:grpSpPr>
          <a:xfrm>
            <a:off x="6714852" y="411163"/>
            <a:ext cx="3745186" cy="5495925"/>
            <a:chOff x="6714852" y="411163"/>
            <a:chExt cx="3745186" cy="5495925"/>
          </a:xfrm>
        </p:grpSpPr>
        <p:sp>
          <p:nvSpPr>
            <p:cNvPr id="24" name="Line 41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5" name="Line 4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6" name="Line 43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7" name="Line 44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8" name="Line 45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7177088" y="178179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9" name="Line 46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30" name="Line 47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6714852" y="411163"/>
            <a:ext cx="3745186" cy="5495925"/>
            <a:chOff x="6714852" y="411163"/>
            <a:chExt cx="3745186" cy="5495925"/>
          </a:xfrm>
        </p:grpSpPr>
        <p:sp>
          <p:nvSpPr>
            <p:cNvPr id="15" name="Line 41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6" name="Line 4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7" name="Line 43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8" name="Line 44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9" name="Line 45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7177088" y="178179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0" name="Line 46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1" name="Line 47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8964852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Image and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6540" y="484188"/>
            <a:ext cx="6477298" cy="1225599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7286" y="1781175"/>
            <a:ext cx="6479727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 dirty="0"/>
              <a:t>Level 0, Arial, 18 </a:t>
            </a:r>
            <a:r>
              <a:rPr lang="en-US" noProof="0" dirty="0" err="1"/>
              <a:t>pt</a:t>
            </a:r>
            <a:r>
              <a:rPr lang="en-US" noProof="0" dirty="0"/>
              <a:t>, black</a:t>
            </a:r>
          </a:p>
          <a:p>
            <a:pPr lvl="1"/>
            <a:r>
              <a:rPr lang="en-US" noProof="0" dirty="0"/>
              <a:t>Level 1, Arial, 18 </a:t>
            </a:r>
            <a:r>
              <a:rPr lang="en-US" noProof="0" dirty="0" err="1"/>
              <a:t>pt</a:t>
            </a:r>
            <a:r>
              <a:rPr lang="en-US" noProof="0" dirty="0"/>
              <a:t>, black</a:t>
            </a:r>
          </a:p>
          <a:p>
            <a:pPr lvl="2"/>
            <a:r>
              <a:rPr lang="en-US" noProof="0" dirty="0"/>
              <a:t>Level 2</a:t>
            </a:r>
          </a:p>
          <a:p>
            <a:pPr lvl="3"/>
            <a:r>
              <a:rPr lang="en-US" noProof="0" dirty="0"/>
              <a:t>Level 3</a:t>
            </a:r>
          </a:p>
        </p:txBody>
      </p:sp>
      <p:grpSp>
        <p:nvGrpSpPr>
          <p:cNvPr id="8" name="Group 40"/>
          <p:cNvGrpSpPr>
            <a:grpSpLocks/>
          </p:cNvGrpSpPr>
          <p:nvPr/>
        </p:nvGrpSpPr>
        <p:grpSpPr bwMode="auto">
          <a:xfrm>
            <a:off x="3402012" y="411163"/>
            <a:ext cx="7058026" cy="5495925"/>
            <a:chOff x="2143" y="259"/>
            <a:chExt cx="4446" cy="3462"/>
          </a:xfrm>
        </p:grpSpPr>
        <p:sp>
          <p:nvSpPr>
            <p:cNvPr id="9" name="Line 41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0" name="Line 42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1" name="Line 43"/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2" name="Line 44"/>
            <p:cNvSpPr>
              <a:spLocks noChangeShapeType="1"/>
            </p:cNvSpPr>
            <p:nvPr>
              <p:custDataLst>
                <p:tags r:id="rId11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3" name="Line 45"/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4" name="Line 46"/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5" name="Line 47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2279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grpSp>
        <p:nvGrpSpPr>
          <p:cNvPr id="16" name="Group 40"/>
          <p:cNvGrpSpPr>
            <a:grpSpLocks/>
          </p:cNvGrpSpPr>
          <p:nvPr userDrawn="1"/>
        </p:nvGrpSpPr>
        <p:grpSpPr bwMode="auto">
          <a:xfrm>
            <a:off x="3402012" y="411163"/>
            <a:ext cx="7058026" cy="5495925"/>
            <a:chOff x="2143" y="259"/>
            <a:chExt cx="4446" cy="3462"/>
          </a:xfrm>
        </p:grpSpPr>
        <p:sp>
          <p:nvSpPr>
            <p:cNvPr id="17" name="Line 41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8" name="Line 4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9" name="Line 43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0" name="Line 44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1" name="Line 45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2" name="Line 46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3" name="Line 47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V="1">
              <a:off x="2279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8398522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Image Grey and 1/3 Text_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91388" y="484188"/>
            <a:ext cx="3092450" cy="12255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91388" y="1781175"/>
            <a:ext cx="3095625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Rechteck 7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9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3558693" y="148410"/>
            <a:ext cx="3286125" cy="53054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0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131763" y="147637"/>
            <a:ext cx="3286125" cy="53054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99562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Image Grey and 1/3 Text_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91388" y="484188"/>
            <a:ext cx="3092450" cy="12255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91388" y="1781175"/>
            <a:ext cx="3095625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7" name="Rechteck 6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Rechteck 7"/>
          <p:cNvSpPr/>
          <p:nvPr/>
        </p:nvSpPr>
        <p:spPr>
          <a:xfrm>
            <a:off x="0" y="0"/>
            <a:ext cx="700246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3558693" y="148411"/>
            <a:ext cx="3286125" cy="242738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2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131763" y="147638"/>
            <a:ext cx="3286125" cy="242738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3558693" y="3026817"/>
            <a:ext cx="3286125" cy="242738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7" hasCustomPrompt="1"/>
          </p:nvPr>
        </p:nvSpPr>
        <p:spPr>
          <a:xfrm>
            <a:off x="131763" y="3026044"/>
            <a:ext cx="3286125" cy="2427386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225180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Grey and 2/3 Text_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5794" y="484188"/>
            <a:ext cx="6478044" cy="1225599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6540" y="1781175"/>
            <a:ext cx="6480473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</p:spTree>
    <p:extLst>
      <p:ext uri="{BB962C8B-B14F-4D97-AF65-F5344CB8AC3E}">
        <p14:creationId xmlns:p14="http://schemas.microsoft.com/office/powerpoint/2010/main" val="13613946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 Grey and 2/3 Text_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05794" y="484188"/>
            <a:ext cx="6478044" cy="1225599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Headline, Arial, 24 pt, black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290568" y="5701366"/>
            <a:ext cx="216372" cy="12311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06540" y="1781175"/>
            <a:ext cx="6480473" cy="36004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</p:txBody>
      </p:sp>
      <p:sp>
        <p:nvSpPr>
          <p:cNvPr id="3" name="Rechteck 2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Rechteck 7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9" name="Rechteck 8"/>
          <p:cNvSpPr/>
          <p:nvPr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0" name="Rechteck 9"/>
          <p:cNvSpPr/>
          <p:nvPr userDrawn="1"/>
        </p:nvSpPr>
        <p:spPr>
          <a:xfrm>
            <a:off x="0" y="0"/>
            <a:ext cx="3617913" cy="6011863"/>
          </a:xfrm>
          <a:prstGeom prst="rect">
            <a:avLst/>
          </a:prstGeom>
          <a:solidFill>
            <a:srgbClr val="DCDC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4" hasCustomPrompt="1"/>
          </p:nvPr>
        </p:nvSpPr>
        <p:spPr>
          <a:xfrm>
            <a:off x="131763" y="147638"/>
            <a:ext cx="3286125" cy="152813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4" name="Bildplatzhalter 10"/>
          <p:cNvSpPr>
            <a:spLocks noGrp="1"/>
          </p:cNvSpPr>
          <p:nvPr>
            <p:ph type="pic" sz="quarter" idx="15" hasCustomPrompt="1"/>
          </p:nvPr>
        </p:nvSpPr>
        <p:spPr>
          <a:xfrm>
            <a:off x="131763" y="2034982"/>
            <a:ext cx="3286125" cy="152813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  <p:sp>
        <p:nvSpPr>
          <p:cNvPr id="15" name="Bildplatzhalter 10"/>
          <p:cNvSpPr>
            <a:spLocks noGrp="1"/>
          </p:cNvSpPr>
          <p:nvPr>
            <p:ph type="pic" sz="quarter" idx="16" hasCustomPrompt="1"/>
          </p:nvPr>
        </p:nvSpPr>
        <p:spPr>
          <a:xfrm>
            <a:off x="131763" y="3922326"/>
            <a:ext cx="3286125" cy="152813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/>
            </a:lvl1pPr>
          </a:lstStyle>
          <a:p>
            <a:r>
              <a:rPr lang="en-US" sz="1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76889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vmlDrawing" Target="../drawings/vmlDrawing4.vml"/><Relationship Id="rId18" Type="http://schemas.openxmlformats.org/officeDocument/2006/relationships/tags" Target="../tags/tag61.xml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8.emf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7" Type="http://schemas.openxmlformats.org/officeDocument/2006/relationships/tags" Target="../tags/tag60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59.xml"/><Relationship Id="rId20" Type="http://schemas.openxmlformats.org/officeDocument/2006/relationships/image" Target="../media/image12.jpe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58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25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57.xml"/><Relationship Id="rId22" Type="http://schemas.openxmlformats.org/officeDocument/2006/relationships/image" Target="../media/image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689709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51" name="think-cell Folie" r:id="rId19" imgW="360" imgH="360" progId="">
                  <p:embed/>
                </p:oleObj>
              </mc:Choice>
              <mc:Fallback>
                <p:oleObj name="think-cell Folie" r:id="rId19" imgW="360" imgH="36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22288" y="485651"/>
            <a:ext cx="9861550" cy="11521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Headline, Arial, 24 pt, black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22288" y="1781795"/>
            <a:ext cx="9861550" cy="36003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US" noProof="0"/>
              <a:t>Level 0, Arial, 18 pt, black</a:t>
            </a:r>
          </a:p>
          <a:p>
            <a:pPr lvl="1"/>
            <a:r>
              <a:rPr lang="en-US" noProof="0"/>
              <a:t>Level 1, Arial, 18 pt, black</a:t>
            </a:r>
          </a:p>
          <a:p>
            <a:pPr lvl="2"/>
            <a:r>
              <a:rPr lang="en-US" noProof="0"/>
              <a:t>Level 2</a:t>
            </a:r>
          </a:p>
          <a:p>
            <a:pPr lvl="3"/>
            <a:r>
              <a:rPr lang="en-US" noProof="0"/>
              <a:t>Level 3</a:t>
            </a:r>
          </a:p>
          <a:p>
            <a:pPr lvl="4"/>
            <a:r>
              <a:rPr lang="en-US" noProof="0"/>
              <a:t>Level 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507288" y="5578256"/>
            <a:ext cx="2017743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nb-NO" noProof="0"/>
              <a:t>KANBAN - Retrospektive         -     www.changetogrow.de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290568" y="5701366"/>
            <a:ext cx="216372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64587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20" r:id="rId2"/>
    <p:sldLayoutId id="2147483711" r:id="rId3"/>
    <p:sldLayoutId id="2147483712" r:id="rId4"/>
    <p:sldLayoutId id="2147483713" r:id="rId5"/>
    <p:sldLayoutId id="2147483714" r:id="rId6"/>
    <p:sldLayoutId id="2147483721" r:id="rId7"/>
    <p:sldLayoutId id="2147483715" r:id="rId8"/>
    <p:sldLayoutId id="2147483722" r:id="rId9"/>
    <p:sldLayoutId id="2147483716" r:id="rId10"/>
    <p:sldLayoutId id="2147483717" r:id="rId11"/>
    <p:sldLayoutId id="2147483718" r:id="rId12"/>
    <p:sldLayoutId id="2147483719" r:id="rId13"/>
    <p:sldLayoutId id="2147483737" r:id="rId14"/>
    <p:sldLayoutId id="2147483738" r:id="rId1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itchFamily="34" charset="0"/>
        <a:buNone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269875" indent="-269875" algn="l" defTabSz="914400" rtl="0" eaLnBrk="1" latinLnBrk="0" hangingPunct="1">
        <a:spcBef>
          <a:spcPts val="800"/>
        </a:spcBef>
        <a:buFont typeface="Wingdings" pitchFamily="2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spcBef>
          <a:spcPts val="400"/>
        </a:spcBef>
        <a:buClrTx/>
        <a:buFont typeface="Arial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808038" indent="-268288" algn="l" defTabSz="914400" rtl="0" eaLnBrk="1" latinLnBrk="0" hangingPunct="1">
        <a:spcBef>
          <a:spcPts val="200"/>
        </a:spcBef>
        <a:buClrTx/>
        <a:buFont typeface="Arial" pitchFamily="34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808038" indent="0" algn="l" defTabSz="914400" rtl="0" eaLnBrk="1" latinLnBrk="0" hangingPunct="1">
        <a:spcBef>
          <a:spcPts val="0"/>
        </a:spcBef>
        <a:buFont typeface="Arial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48" name="think-cell Slide" r:id="rId19" imgW="0" imgH="0" progId="">
                  <p:embed/>
                </p:oleObj>
              </mc:Choice>
              <mc:Fallback>
                <p:oleObj name="think-cell Slide" r:id="rId19" imgW="0" imgH="0" progId="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6"/>
          <p:cNvGrpSpPr>
            <a:grpSpLocks/>
          </p:cNvGrpSpPr>
          <p:nvPr userDrawn="1"/>
        </p:nvGrpSpPr>
        <p:grpSpPr bwMode="auto">
          <a:xfrm>
            <a:off x="461963" y="411163"/>
            <a:ext cx="9998075" cy="5495925"/>
            <a:chOff x="291" y="259"/>
            <a:chExt cx="6298" cy="3462"/>
          </a:xfrm>
        </p:grpSpPr>
        <p:sp>
          <p:nvSpPr>
            <p:cNvPr id="13321" name="Line 7"/>
            <p:cNvSpPr>
              <a:spLocks noChangeShapeType="1"/>
            </p:cNvSpPr>
            <p:nvPr userDrawn="1"/>
          </p:nvSpPr>
          <p:spPr bwMode="auto">
            <a:xfrm flipV="1">
              <a:off x="339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u="sng">
                <a:solidFill>
                  <a:srgbClr val="707070"/>
                </a:solidFill>
              </a:endParaRPr>
            </a:p>
          </p:txBody>
        </p:sp>
        <p:sp>
          <p:nvSpPr>
            <p:cNvPr id="13322" name="Line 8"/>
            <p:cNvSpPr>
              <a:spLocks noChangeShapeType="1"/>
            </p:cNvSpPr>
            <p:nvPr userDrawn="1">
              <p:custDataLst>
                <p:tags r:id="rId18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u="sng">
                <a:solidFill>
                  <a:srgbClr val="707070"/>
                </a:solidFill>
              </a:endParaRPr>
            </a:p>
          </p:txBody>
        </p:sp>
        <p:sp>
          <p:nvSpPr>
            <p:cNvPr id="13323" name="Line 9"/>
            <p:cNvSpPr>
              <a:spLocks noChangeShapeType="1"/>
            </p:cNvSpPr>
            <p:nvPr userDrawn="1"/>
          </p:nvSpPr>
          <p:spPr bwMode="auto">
            <a:xfrm flipH="1">
              <a:off x="291" y="3673"/>
              <a:ext cx="629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u="sng">
                <a:solidFill>
                  <a:srgbClr val="707070"/>
                </a:solidFill>
              </a:endParaRPr>
            </a:p>
          </p:txBody>
        </p:sp>
        <p:sp>
          <p:nvSpPr>
            <p:cNvPr id="13324" name="Line 10"/>
            <p:cNvSpPr>
              <a:spLocks noChangeShapeType="1"/>
            </p:cNvSpPr>
            <p:nvPr userDrawn="1"/>
          </p:nvSpPr>
          <p:spPr bwMode="auto">
            <a:xfrm flipH="1">
              <a:off x="291" y="3384"/>
              <a:ext cx="629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u="sng">
                <a:solidFill>
                  <a:srgbClr val="707070"/>
                </a:solidFill>
              </a:endParaRPr>
            </a:p>
          </p:txBody>
        </p:sp>
        <p:sp>
          <p:nvSpPr>
            <p:cNvPr id="13325" name="Line 11"/>
            <p:cNvSpPr>
              <a:spLocks noChangeShapeType="1"/>
            </p:cNvSpPr>
            <p:nvPr userDrawn="1"/>
          </p:nvSpPr>
          <p:spPr bwMode="auto">
            <a:xfrm>
              <a:off x="291" y="307"/>
              <a:ext cx="629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u="sng">
                <a:solidFill>
                  <a:srgbClr val="707070"/>
                </a:solidFill>
              </a:endParaRPr>
            </a:p>
          </p:txBody>
        </p:sp>
        <p:sp>
          <p:nvSpPr>
            <p:cNvPr id="13326" name="Line 12"/>
            <p:cNvSpPr>
              <a:spLocks noChangeShapeType="1"/>
            </p:cNvSpPr>
            <p:nvPr userDrawn="1"/>
          </p:nvSpPr>
          <p:spPr bwMode="auto">
            <a:xfrm>
              <a:off x="291" y="1124"/>
              <a:ext cx="629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u="sng">
                <a:solidFill>
                  <a:srgbClr val="707070"/>
                </a:solidFill>
              </a:endParaRPr>
            </a:p>
          </p:txBody>
        </p:sp>
      </p:grpSp>
      <p:pic>
        <p:nvPicPr>
          <p:cNvPr id="1030" name="Grafik 8" descr="Titel GB 2012.jpg"/>
          <p:cNvPicPr>
            <a:picLocks noChangeAspect="1"/>
          </p:cNvPicPr>
          <p:nvPr userDrawn="1"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0" y="0"/>
            <a:ext cx="10693400" cy="529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Grafik 9" descr="PPT_KSB_130702_l.emf"/>
          <p:cNvPicPr>
            <a:picLocks noChangeAspect="1"/>
          </p:cNvPicPr>
          <p:nvPr userDrawn="1"/>
        </p:nvPicPr>
        <p:blipFill>
          <a:blip r:embed="rId21" cstate="print"/>
          <a:srcRect l="2165" t="59177" r="481" b="1076"/>
          <a:stretch>
            <a:fillRect/>
          </a:stretch>
        </p:blipFill>
        <p:spPr bwMode="auto">
          <a:xfrm>
            <a:off x="0" y="3578225"/>
            <a:ext cx="10693400" cy="24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34" descr="LOGO_KSB_4C"/>
          <p:cNvPicPr>
            <a:picLocks noChangeAspect="1" noChangeArrowheads="1"/>
          </p:cNvPicPr>
          <p:nvPr userDrawn="1"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8918575" y="4935538"/>
            <a:ext cx="1285875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7" name="Object 2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49" name="think-cell Folie" r:id="rId23" imgW="360" imgH="360" progId="">
                  <p:embed/>
                </p:oleObj>
              </mc:Choice>
              <mc:Fallback>
                <p:oleObj name="think-cell Folie" r:id="rId23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Rectangle 4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538163" y="487363"/>
            <a:ext cx="984567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Titelmasterformat durch Klicken bearbeiten</a:t>
            </a:r>
          </a:p>
        </p:txBody>
      </p:sp>
      <p:sp>
        <p:nvSpPr>
          <p:cNvPr id="1034" name="Rectangle 5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538163" y="1784350"/>
            <a:ext cx="9845675" cy="358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Ebene 0</a:t>
            </a:r>
          </a:p>
          <a:p>
            <a:pPr lvl="1"/>
            <a:r>
              <a:rPr lang="en-GB"/>
              <a:t>Ebene 1</a:t>
            </a:r>
          </a:p>
          <a:p>
            <a:pPr lvl="2"/>
            <a:r>
              <a:rPr lang="en-GB"/>
              <a:t>Ebene 2</a:t>
            </a:r>
          </a:p>
          <a:p>
            <a:pPr lvl="3"/>
            <a:r>
              <a:rPr lang="en-GB"/>
              <a:t>Ebene 3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</p:sldLayoutIdLst>
  <p:hf hdr="0" dt="0"/>
  <p:txStyles>
    <p:titleStyle>
      <a:lvl1pPr algn="l" defTabSz="954088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4088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defTabSz="954088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defTabSz="954088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defTabSz="954088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l" defTabSz="954088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l" defTabSz="954088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l" defTabSz="954088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l" defTabSz="954088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defTabSz="954088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268288" indent="-266700" algn="l" defTabSz="954088" rtl="0" eaLnBrk="0" fontAlgn="base" hangingPunct="0">
        <a:spcBef>
          <a:spcPts val="800"/>
        </a:spcBef>
        <a:spcAft>
          <a:spcPct val="0"/>
        </a:spcAft>
        <a:buFont typeface="Wingdings" pitchFamily="2" charset="2"/>
        <a:buChar char="§"/>
        <a:defRPr sz="2800">
          <a:solidFill>
            <a:schemeClr val="tx1"/>
          </a:solidFill>
          <a:latin typeface="+mn-lt"/>
          <a:cs typeface="+mn-cs"/>
        </a:defRPr>
      </a:lvl2pPr>
      <a:lvl3pPr marL="539750" indent="-269875" algn="l" defTabSz="954088" rtl="0" eaLnBrk="0" fontAlgn="base" hangingPunct="0">
        <a:spcBef>
          <a:spcPts val="400"/>
        </a:spcBef>
        <a:spcAft>
          <a:spcPct val="0"/>
        </a:spcAft>
        <a:buFont typeface="Arial" pitchFamily="34" charset="0"/>
        <a:buChar char="–"/>
        <a:defRPr sz="2400">
          <a:solidFill>
            <a:schemeClr val="tx1"/>
          </a:solidFill>
          <a:latin typeface="+mn-lt"/>
          <a:cs typeface="+mn-cs"/>
        </a:defRPr>
      </a:lvl3pPr>
      <a:lvl4pPr marL="809625" indent="-268288" algn="l" defTabSz="954088" rtl="0" eaLnBrk="0" fontAlgn="base" hangingPunct="0">
        <a:spcBef>
          <a:spcPts val="2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147888" indent="-238125" algn="l" defTabSz="954088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777777"/>
          </a:solidFill>
          <a:latin typeface="+mn-lt"/>
          <a:cs typeface="+mn-cs"/>
        </a:defRPr>
      </a:lvl5pPr>
      <a:lvl6pPr marL="2605088" indent="-238125" algn="l" defTabSz="954088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777777"/>
          </a:solidFill>
          <a:latin typeface="+mn-lt"/>
          <a:cs typeface="+mn-cs"/>
        </a:defRPr>
      </a:lvl6pPr>
      <a:lvl7pPr marL="3062288" indent="-238125" algn="l" defTabSz="954088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777777"/>
          </a:solidFill>
          <a:latin typeface="+mn-lt"/>
          <a:cs typeface="+mn-cs"/>
        </a:defRPr>
      </a:lvl7pPr>
      <a:lvl8pPr marL="3519488" indent="-238125" algn="l" defTabSz="954088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777777"/>
          </a:solidFill>
          <a:latin typeface="+mn-lt"/>
          <a:cs typeface="+mn-cs"/>
        </a:defRPr>
      </a:lvl8pPr>
      <a:lvl9pPr marL="3976688" indent="-238125" algn="l" defTabSz="954088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777777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4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7.jp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8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9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9865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0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Untertitel 24"/>
          <p:cNvSpPr>
            <a:spLocks noGrp="1"/>
          </p:cNvSpPr>
          <p:nvPr>
            <p:ph type="subTitle" idx="1"/>
          </p:nvPr>
        </p:nvSpPr>
        <p:spPr>
          <a:xfrm>
            <a:off x="522164" y="4461319"/>
            <a:ext cx="7848872" cy="369332"/>
          </a:xfrm>
        </p:spPr>
        <p:txBody>
          <a:bodyPr/>
          <a:lstStyle/>
          <a:p>
            <a:r>
              <a:rPr lang="en-US" sz="2400" dirty="0">
                <a:solidFill>
                  <a:srgbClr val="707070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Eight characteristics of successful teams</a:t>
            </a:r>
          </a:p>
        </p:txBody>
      </p:sp>
      <p:sp>
        <p:nvSpPr>
          <p:cNvPr id="8" name="Textplatzhalter 25"/>
          <p:cNvSpPr>
            <a:spLocks noGrp="1"/>
          </p:cNvSpPr>
          <p:nvPr>
            <p:ph type="body" sz="quarter" idx="11"/>
          </p:nvPr>
        </p:nvSpPr>
        <p:spPr>
          <a:xfrm>
            <a:off x="575916" y="5637795"/>
            <a:ext cx="7848748" cy="288031"/>
          </a:xfrm>
        </p:spPr>
        <p:txBody>
          <a:bodyPr/>
          <a:lstStyle/>
          <a:p>
            <a:pPr lvl="0">
              <a:defRPr/>
            </a:pPr>
            <a:r>
              <a:rPr lang="de-DE"/>
              <a:t>September 2017– </a:t>
            </a:r>
            <a:r>
              <a:rPr lang="de-DE" dirty="0"/>
              <a:t>Wolfgang Schmitt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95048" y="5066901"/>
            <a:ext cx="938865" cy="944962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74892" y="5316569"/>
            <a:ext cx="53467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1400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             „Change </a:t>
            </a:r>
            <a:r>
              <a:rPr lang="de-DE" sz="1400" b="1" dirty="0" err="1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o</a:t>
            </a:r>
            <a:r>
              <a:rPr lang="de-DE" sz="1400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</a:t>
            </a:r>
            <a:r>
              <a:rPr lang="de-DE" sz="1400" b="1" dirty="0" err="1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grow</a:t>
            </a:r>
            <a:r>
              <a:rPr lang="de-DE" sz="1400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"</a:t>
            </a:r>
            <a:br>
              <a:rPr lang="de-DE" sz="1400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r>
              <a:rPr lang="de-DE" sz="1400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 </a:t>
            </a:r>
            <a:r>
              <a:rPr lang="de-DE" sz="1400" b="1" i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  Training  Consulting  Coaching</a:t>
            </a:r>
            <a:endParaRPr lang="de-DE" sz="1400" dirty="0">
              <a:solidFill>
                <a:srgbClr val="0B5B35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4" name="Titel 23"/>
          <p:cNvSpPr>
            <a:spLocks noGrp="1"/>
          </p:cNvSpPr>
          <p:nvPr>
            <p:ph type="ctrTitle" idx="4294967295"/>
          </p:nvPr>
        </p:nvSpPr>
        <p:spPr>
          <a:xfrm>
            <a:off x="522164" y="3842319"/>
            <a:ext cx="7848872" cy="553998"/>
          </a:xfrm>
        </p:spPr>
        <p:txBody>
          <a:bodyPr/>
          <a:lstStyle/>
          <a:p>
            <a:r>
              <a:rPr lang="en-US" sz="36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Working in a great team… (1)</a:t>
            </a:r>
          </a:p>
        </p:txBody>
      </p:sp>
    </p:spTree>
    <p:extLst>
      <p:ext uri="{BB962C8B-B14F-4D97-AF65-F5344CB8AC3E}">
        <p14:creationId xmlns:p14="http://schemas.microsoft.com/office/powerpoint/2010/main" val="3479341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043031" y="5630643"/>
            <a:ext cx="1632261" cy="3077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nb-NO" altLang="de-DE" sz="1000" dirty="0"/>
              <a:t>Working in a great team..        www.changetogrow.de</a:t>
            </a:r>
            <a:endParaRPr lang="en-GB" altLang="de-DE" sz="10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90568" y="5776111"/>
            <a:ext cx="223808" cy="8458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2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0182225" y="5846763"/>
            <a:ext cx="0" cy="1730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300" b="1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8E8E9E0-3A5A-493E-B48D-2008D8BD2B6E}"/>
              </a:ext>
            </a:extLst>
          </p:cNvPr>
          <p:cNvSpPr txBox="1"/>
          <p:nvPr/>
        </p:nvSpPr>
        <p:spPr>
          <a:xfrm>
            <a:off x="6426820" y="1709787"/>
            <a:ext cx="367240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i="1" dirty="0"/>
              <a:t>8 </a:t>
            </a:r>
            <a:r>
              <a:rPr lang="de-DE" sz="2400" b="1" i="1" dirty="0" err="1"/>
              <a:t>characteristics</a:t>
            </a:r>
            <a:r>
              <a:rPr lang="de-DE" sz="2400" b="1" i="1" dirty="0"/>
              <a:t> </a:t>
            </a:r>
            <a:r>
              <a:rPr lang="de-DE" sz="2400" b="1" i="1" dirty="0" err="1"/>
              <a:t>of</a:t>
            </a:r>
            <a:r>
              <a:rPr lang="de-DE" sz="2400" b="1" i="1" dirty="0"/>
              <a:t> </a:t>
            </a:r>
            <a:r>
              <a:rPr lang="de-DE" sz="2400" b="1" i="1" dirty="0" err="1"/>
              <a:t>successful</a:t>
            </a:r>
            <a:r>
              <a:rPr lang="de-DE" sz="2400" b="1" i="1" dirty="0"/>
              <a:t> </a:t>
            </a:r>
            <a:r>
              <a:rPr lang="de-DE" sz="2400" b="1" i="1" dirty="0" err="1"/>
              <a:t>teams</a:t>
            </a:r>
            <a:r>
              <a:rPr lang="de-DE" sz="2400" b="1" i="1" dirty="0"/>
              <a:t>!</a:t>
            </a:r>
          </a:p>
          <a:p>
            <a:pPr algn="ctr"/>
            <a:endParaRPr lang="de-DE" sz="24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algn="ctr"/>
            <a:r>
              <a:rPr lang="de-DE" sz="1600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Criteria</a:t>
            </a:r>
            <a:r>
              <a:rPr lang="de-DE" sz="1600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600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that</a:t>
            </a:r>
            <a:r>
              <a:rPr lang="de-DE" sz="1600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600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make</a:t>
            </a:r>
            <a:r>
              <a:rPr lang="de-DE" sz="1600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600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teamwork</a:t>
            </a:r>
            <a:r>
              <a:rPr lang="de-DE" sz="1600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not </a:t>
            </a:r>
            <a:r>
              <a:rPr lang="de-DE" sz="1600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only</a:t>
            </a:r>
            <a:r>
              <a:rPr lang="de-DE" sz="1600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600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successful</a:t>
            </a:r>
            <a:r>
              <a:rPr lang="de-DE" sz="1600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but a </a:t>
            </a:r>
            <a:r>
              <a:rPr lang="de-DE" sz="1600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great</a:t>
            </a:r>
            <a:r>
              <a:rPr lang="de-DE" sz="1600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600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pleasure</a:t>
            </a:r>
            <a:r>
              <a:rPr lang="de-DE" sz="1600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600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as</a:t>
            </a:r>
            <a:r>
              <a:rPr lang="de-DE" sz="1600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1600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well</a:t>
            </a:r>
            <a:r>
              <a:rPr lang="de-DE" sz="1600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…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7645" y="4815998"/>
            <a:ext cx="731583" cy="73768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B441370-6EF2-40FE-8058-BE8E58D30A9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169" y="989707"/>
            <a:ext cx="5384800" cy="359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889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043031" y="5630643"/>
            <a:ext cx="1632261" cy="3077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nb-NO" altLang="de-DE" sz="1000" dirty="0"/>
              <a:t>Working in a great team..        www.changetogrow.de</a:t>
            </a:r>
            <a:endParaRPr lang="en-GB" altLang="de-DE" sz="10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90568" y="5776111"/>
            <a:ext cx="223808" cy="8458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3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0182225" y="5846763"/>
            <a:ext cx="0" cy="1730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300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7645" y="4815998"/>
            <a:ext cx="731583" cy="73768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8F06DB3F-CBBE-4784-B441-CAB8B34ABDB4}"/>
              </a:ext>
            </a:extLst>
          </p:cNvPr>
          <p:cNvSpPr txBox="1"/>
          <p:nvPr/>
        </p:nvSpPr>
        <p:spPr>
          <a:xfrm>
            <a:off x="306140" y="625599"/>
            <a:ext cx="36724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i="1" dirty="0"/>
              <a:t>A </a:t>
            </a:r>
            <a:r>
              <a:rPr lang="de-DE" sz="2400" b="1" i="1" dirty="0" err="1"/>
              <a:t>three</a:t>
            </a:r>
            <a:r>
              <a:rPr lang="de-DE" sz="2400" b="1" i="1" dirty="0"/>
              <a:t> – </a:t>
            </a:r>
            <a:r>
              <a:rPr lang="de-DE" sz="2400" b="1" i="1" dirty="0" err="1"/>
              <a:t>year</a:t>
            </a:r>
            <a:r>
              <a:rPr lang="de-DE" sz="2400" b="1" i="1" dirty="0"/>
              <a:t> </a:t>
            </a:r>
            <a:r>
              <a:rPr lang="de-DE" sz="2400" b="1" i="1" dirty="0" err="1"/>
              <a:t>study</a:t>
            </a:r>
            <a:r>
              <a:rPr lang="de-DE" sz="2400" b="1" i="1" dirty="0"/>
              <a:t>* </a:t>
            </a:r>
            <a:r>
              <a:rPr lang="de-DE" sz="2400" b="1" i="1" dirty="0" err="1"/>
              <a:t>of</a:t>
            </a:r>
            <a:r>
              <a:rPr lang="de-DE" sz="2400" b="1" i="1" dirty="0"/>
              <a:t> 60 </a:t>
            </a:r>
            <a:r>
              <a:rPr lang="de-DE" sz="2400" b="1" i="1" dirty="0" err="1"/>
              <a:t>extraordinary</a:t>
            </a:r>
            <a:r>
              <a:rPr lang="de-DE" sz="2400" b="1" i="1" dirty="0"/>
              <a:t> </a:t>
            </a:r>
            <a:r>
              <a:rPr lang="de-DE" sz="2400" b="1" i="1" dirty="0" err="1"/>
              <a:t>teams</a:t>
            </a:r>
            <a:r>
              <a:rPr lang="de-DE" sz="2400" b="1" i="1" dirty="0"/>
              <a:t> </a:t>
            </a:r>
            <a:r>
              <a:rPr lang="de-DE" sz="2400" b="1" i="1" dirty="0" err="1"/>
              <a:t>identified</a:t>
            </a:r>
            <a:r>
              <a:rPr lang="de-DE" sz="2400" b="1" i="1" dirty="0"/>
              <a:t> 8  </a:t>
            </a:r>
            <a:r>
              <a:rPr lang="de-DE" sz="2400" b="1" i="1" dirty="0" err="1"/>
              <a:t>characteristics</a:t>
            </a:r>
            <a:r>
              <a:rPr lang="de-DE" sz="2400" b="1" i="1" dirty="0"/>
              <a:t> </a:t>
            </a:r>
            <a:r>
              <a:rPr lang="de-DE" sz="2400" b="1" i="1" dirty="0" err="1"/>
              <a:t>that</a:t>
            </a:r>
            <a:r>
              <a:rPr lang="de-DE" sz="2400" b="1" i="1" dirty="0"/>
              <a:t> all </a:t>
            </a:r>
            <a:r>
              <a:rPr lang="de-DE" sz="2400" b="1" i="1" dirty="0" err="1"/>
              <a:t>of</a:t>
            </a:r>
            <a:r>
              <a:rPr lang="de-DE" sz="2400" b="1" i="1" dirty="0"/>
              <a:t> </a:t>
            </a:r>
            <a:r>
              <a:rPr lang="de-DE" sz="2400" b="1" i="1" dirty="0" err="1"/>
              <a:t>these</a:t>
            </a:r>
            <a:r>
              <a:rPr lang="de-DE" sz="2400" b="1" i="1" dirty="0"/>
              <a:t> </a:t>
            </a:r>
            <a:r>
              <a:rPr lang="de-DE" sz="2400" b="1" i="1" dirty="0" err="1"/>
              <a:t>teams</a:t>
            </a:r>
            <a:r>
              <a:rPr lang="de-DE" sz="2400" b="1" i="1" dirty="0"/>
              <a:t> </a:t>
            </a:r>
            <a:r>
              <a:rPr lang="de-DE" sz="2400" b="1" i="1" dirty="0" err="1"/>
              <a:t>had</a:t>
            </a:r>
            <a:r>
              <a:rPr lang="de-DE" sz="2400" b="1" i="1" dirty="0"/>
              <a:t> in </a:t>
            </a:r>
            <a:r>
              <a:rPr lang="de-DE" sz="2400" b="1" i="1" dirty="0" err="1"/>
              <a:t>common</a:t>
            </a:r>
            <a:r>
              <a:rPr lang="de-DE" sz="2400" b="1" i="1" dirty="0"/>
              <a:t>..</a:t>
            </a:r>
            <a:endParaRPr lang="de-DE" sz="16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6D8D674D-7194-4AF2-843A-E556A33E0664}"/>
              </a:ext>
            </a:extLst>
          </p:cNvPr>
          <p:cNvSpPr/>
          <p:nvPr/>
        </p:nvSpPr>
        <p:spPr>
          <a:xfrm>
            <a:off x="162124" y="5581064"/>
            <a:ext cx="53270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i="1" dirty="0">
                <a:solidFill>
                  <a:srgbClr val="FF0000"/>
                </a:solidFill>
              </a:rPr>
              <a:t>*Study </a:t>
            </a:r>
            <a:r>
              <a:rPr lang="de-DE" i="1" dirty="0" err="1">
                <a:solidFill>
                  <a:srgbClr val="FF0000"/>
                </a:solidFill>
              </a:rPr>
              <a:t>by</a:t>
            </a:r>
            <a:r>
              <a:rPr lang="de-DE" i="1" dirty="0">
                <a:solidFill>
                  <a:srgbClr val="FF0000"/>
                </a:solidFill>
              </a:rPr>
              <a:t> „</a:t>
            </a:r>
            <a:r>
              <a:rPr lang="de-DE" i="1" dirty="0" err="1">
                <a:solidFill>
                  <a:srgbClr val="FF0000"/>
                </a:solidFill>
              </a:rPr>
              <a:t>management</a:t>
            </a:r>
            <a:r>
              <a:rPr lang="de-DE" i="1" dirty="0">
                <a:solidFill>
                  <a:srgbClr val="FF0000"/>
                </a:solidFill>
              </a:rPr>
              <a:t>  </a:t>
            </a:r>
            <a:r>
              <a:rPr lang="de-DE" i="1" dirty="0" err="1">
                <a:solidFill>
                  <a:srgbClr val="FF0000"/>
                </a:solidFill>
              </a:rPr>
              <a:t>is</a:t>
            </a:r>
            <a:r>
              <a:rPr lang="de-DE" i="1" dirty="0">
                <a:solidFill>
                  <a:srgbClr val="FF0000"/>
                </a:solidFill>
              </a:rPr>
              <a:t> a </a:t>
            </a:r>
            <a:r>
              <a:rPr lang="de-DE" i="1" dirty="0" err="1">
                <a:solidFill>
                  <a:srgbClr val="FF0000"/>
                </a:solidFill>
              </a:rPr>
              <a:t>journey</a:t>
            </a:r>
            <a:r>
              <a:rPr lang="de-DE" i="1" dirty="0">
                <a:solidFill>
                  <a:srgbClr val="FF0000"/>
                </a:solidFill>
              </a:rPr>
              <a:t> corp.“ / 2015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22A407A2-B54B-4EDF-B884-D208D13CC4FA}"/>
              </a:ext>
            </a:extLst>
          </p:cNvPr>
          <p:cNvSpPr txBox="1"/>
          <p:nvPr/>
        </p:nvSpPr>
        <p:spPr>
          <a:xfrm>
            <a:off x="306140" y="2933923"/>
            <a:ext cx="367240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i="1" dirty="0"/>
              <a:t>These 8 </a:t>
            </a:r>
            <a:r>
              <a:rPr lang="de-DE" sz="2400" b="1" i="1" dirty="0" err="1"/>
              <a:t>characteristics</a:t>
            </a:r>
            <a:r>
              <a:rPr lang="de-DE" sz="2400" b="1" i="1" dirty="0"/>
              <a:t> </a:t>
            </a:r>
            <a:r>
              <a:rPr lang="de-DE" sz="2400" b="1" i="1" dirty="0" err="1"/>
              <a:t>seemed</a:t>
            </a:r>
            <a:r>
              <a:rPr lang="de-DE" sz="2400" b="1" i="1" dirty="0"/>
              <a:t> </a:t>
            </a:r>
            <a:r>
              <a:rPr lang="de-DE" sz="2400" b="1" i="1" dirty="0" err="1"/>
              <a:t>to</a:t>
            </a:r>
            <a:r>
              <a:rPr lang="de-DE" sz="2400" b="1" i="1" dirty="0"/>
              <a:t> </a:t>
            </a:r>
            <a:r>
              <a:rPr lang="de-DE" sz="2400" b="1" i="1" dirty="0" err="1"/>
              <a:t>be</a:t>
            </a:r>
            <a:r>
              <a:rPr lang="de-DE" sz="2400" b="1" i="1" dirty="0"/>
              <a:t> </a:t>
            </a:r>
            <a:r>
              <a:rPr lang="de-DE" sz="2400" b="1" i="1" dirty="0" err="1"/>
              <a:t>the</a:t>
            </a:r>
            <a:r>
              <a:rPr lang="de-DE" sz="2400" b="1" i="1" dirty="0"/>
              <a:t> </a:t>
            </a:r>
            <a:r>
              <a:rPr lang="de-DE" sz="2400" b="1" i="1" dirty="0" err="1"/>
              <a:t>indicators</a:t>
            </a:r>
            <a:r>
              <a:rPr lang="de-DE" sz="2400" b="1" i="1" dirty="0"/>
              <a:t> </a:t>
            </a:r>
            <a:r>
              <a:rPr lang="de-DE" sz="2400" b="1" i="1" dirty="0" err="1"/>
              <a:t>for</a:t>
            </a:r>
            <a:r>
              <a:rPr lang="de-DE" sz="2400" b="1" i="1" dirty="0"/>
              <a:t> a high </a:t>
            </a:r>
            <a:r>
              <a:rPr lang="de-DE" sz="2400" b="1" i="1" dirty="0" err="1"/>
              <a:t>performance</a:t>
            </a:r>
            <a:r>
              <a:rPr lang="de-DE" sz="2400" b="1" i="1" dirty="0"/>
              <a:t> </a:t>
            </a:r>
            <a:r>
              <a:rPr lang="de-DE" sz="2400" b="1" i="1" dirty="0" err="1"/>
              <a:t>team</a:t>
            </a:r>
            <a:r>
              <a:rPr lang="de-DE" sz="2400" b="1" i="1" dirty="0"/>
              <a:t>..</a:t>
            </a:r>
            <a:endParaRPr lang="de-DE" sz="16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B4C6587-FC9D-42D0-BDD6-5800D53E15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4346" y="557659"/>
            <a:ext cx="6092443" cy="4066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0105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043031" y="5630643"/>
            <a:ext cx="1632261" cy="3077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nb-NO" altLang="de-DE" sz="1000" dirty="0"/>
              <a:t>Working in a great team..        www.changetogrow.de</a:t>
            </a:r>
            <a:endParaRPr lang="en-GB" altLang="de-DE" sz="10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90568" y="5776111"/>
            <a:ext cx="223808" cy="8458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4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0182225" y="5846763"/>
            <a:ext cx="0" cy="1730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300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7645" y="4815998"/>
            <a:ext cx="731583" cy="737680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B8AE7BBE-0ED2-49DD-9D54-CCF72989DFD4}"/>
              </a:ext>
            </a:extLst>
          </p:cNvPr>
          <p:cNvSpPr txBox="1"/>
          <p:nvPr/>
        </p:nvSpPr>
        <p:spPr>
          <a:xfrm>
            <a:off x="450156" y="557659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i="1" dirty="0"/>
              <a:t>1 </a:t>
            </a:r>
            <a:r>
              <a:rPr lang="de-DE" sz="2400" b="1" i="1" dirty="0" err="1"/>
              <a:t>They</a:t>
            </a:r>
            <a:r>
              <a:rPr lang="de-DE" sz="2400" b="1" i="1" dirty="0"/>
              <a:t> </a:t>
            </a:r>
            <a:r>
              <a:rPr lang="de-DE" sz="2400" b="1" i="1" dirty="0" err="1"/>
              <a:t>have</a:t>
            </a:r>
            <a:r>
              <a:rPr lang="de-DE" sz="2400" b="1" i="1" dirty="0"/>
              <a:t> a </a:t>
            </a:r>
            <a:r>
              <a:rPr lang="de-DE" sz="2400" b="1" i="1" dirty="0" err="1"/>
              <a:t>compelling</a:t>
            </a:r>
            <a:r>
              <a:rPr lang="de-DE" sz="2400" b="1" i="1" dirty="0"/>
              <a:t> </a:t>
            </a:r>
            <a:r>
              <a:rPr lang="de-DE" sz="2400" b="1" i="1" dirty="0" err="1"/>
              <a:t>purpose</a:t>
            </a:r>
            <a:r>
              <a:rPr lang="de-DE" sz="2400" b="1" i="1" dirty="0"/>
              <a:t>.</a:t>
            </a:r>
            <a:endParaRPr lang="de-DE" sz="16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FB436733-A37C-4B1F-B0B6-66BCF04A12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180" y="2213843"/>
            <a:ext cx="2773920" cy="1743607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CA90827-852F-4F1A-BAB4-98DBD3A00F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6468" y="557659"/>
            <a:ext cx="5932760" cy="3959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1399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043031" y="5630643"/>
            <a:ext cx="1632261" cy="3077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nb-NO" altLang="de-DE" sz="1000" dirty="0"/>
              <a:t>Working in a great team..        www.changetogrow.de</a:t>
            </a:r>
            <a:endParaRPr lang="en-GB" altLang="de-DE" sz="10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90568" y="5776111"/>
            <a:ext cx="223808" cy="8458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5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0182225" y="5846763"/>
            <a:ext cx="0" cy="1730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300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7645" y="4815998"/>
            <a:ext cx="731583" cy="73768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267FFBE-0391-4E4E-A5E0-0223E50092ED}"/>
              </a:ext>
            </a:extLst>
          </p:cNvPr>
          <p:cNvSpPr txBox="1"/>
          <p:nvPr/>
        </p:nvSpPr>
        <p:spPr>
          <a:xfrm>
            <a:off x="738188" y="2405766"/>
            <a:ext cx="26646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The </a:t>
            </a:r>
            <a:r>
              <a:rPr lang="de-DE" sz="2400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team</a:t>
            </a:r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400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is</a:t>
            </a:r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not </a:t>
            </a:r>
            <a:r>
              <a:rPr lang="de-DE" sz="2400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build</a:t>
            </a:r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400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around</a:t>
            </a:r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400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one</a:t>
            </a:r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400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person</a:t>
            </a:r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!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1B032ED5-BAE4-49F8-ABFD-A763D0A3E2CB}"/>
              </a:ext>
            </a:extLst>
          </p:cNvPr>
          <p:cNvSpPr txBox="1"/>
          <p:nvPr/>
        </p:nvSpPr>
        <p:spPr>
          <a:xfrm>
            <a:off x="378148" y="579545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i="1" dirty="0"/>
              <a:t>2 </a:t>
            </a:r>
            <a:r>
              <a:rPr lang="de-DE" sz="2400" b="1" i="1" dirty="0" err="1"/>
              <a:t>They</a:t>
            </a:r>
            <a:r>
              <a:rPr lang="de-DE" sz="2400" b="1" i="1" dirty="0"/>
              <a:t> </a:t>
            </a:r>
            <a:r>
              <a:rPr lang="de-DE" sz="2400" b="1" i="1" dirty="0" err="1"/>
              <a:t>have</a:t>
            </a:r>
            <a:r>
              <a:rPr lang="de-DE" sz="2400" b="1" i="1" dirty="0"/>
              <a:t> </a:t>
            </a:r>
            <a:r>
              <a:rPr lang="de-DE" sz="2400" b="1" i="1" dirty="0" err="1"/>
              <a:t>shared</a:t>
            </a:r>
            <a:r>
              <a:rPr lang="de-DE" sz="2400" b="1" i="1" dirty="0"/>
              <a:t> </a:t>
            </a:r>
            <a:r>
              <a:rPr lang="de-DE" sz="2400" b="1" i="1" dirty="0" err="1"/>
              <a:t>leadership</a:t>
            </a:r>
            <a:endParaRPr lang="de-DE" sz="16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C63799A-876B-42E2-9281-B4D00173ED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4205" y="579545"/>
            <a:ext cx="6185296" cy="4128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11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043031" y="5630643"/>
            <a:ext cx="1632261" cy="30777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nb-NO" altLang="de-DE" sz="1000" dirty="0"/>
              <a:t>Working in a great team..        www.changetogrow.de</a:t>
            </a:r>
            <a:endParaRPr lang="en-GB" altLang="de-DE" sz="100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90568" y="5776111"/>
            <a:ext cx="223808" cy="8458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6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0182225" y="5846763"/>
            <a:ext cx="0" cy="1730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300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7645" y="4815998"/>
            <a:ext cx="731583" cy="73768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5881F9F4-98E0-4F11-A02B-0D541C6B114D}"/>
              </a:ext>
            </a:extLst>
          </p:cNvPr>
          <p:cNvSpPr txBox="1"/>
          <p:nvPr/>
        </p:nvSpPr>
        <p:spPr>
          <a:xfrm>
            <a:off x="6858694" y="2429867"/>
            <a:ext cx="266464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They</a:t>
            </a:r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find </a:t>
            </a:r>
            <a:r>
              <a:rPr lang="de-DE" sz="2400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the</a:t>
            </a:r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400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right</a:t>
            </a:r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400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balance</a:t>
            </a:r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400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between</a:t>
            </a:r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400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structure</a:t>
            </a:r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and </a:t>
            </a:r>
            <a:r>
              <a:rPr lang="de-DE" sz="2400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flexibility</a:t>
            </a:r>
            <a:r>
              <a:rPr lang="de-DE" sz="2400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!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5922088-7BA6-46A2-846B-776E93BAE6C5}"/>
              </a:ext>
            </a:extLst>
          </p:cNvPr>
          <p:cNvSpPr txBox="1"/>
          <p:nvPr/>
        </p:nvSpPr>
        <p:spPr>
          <a:xfrm>
            <a:off x="6354812" y="594896"/>
            <a:ext cx="3672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i="1" dirty="0"/>
              <a:t>3 </a:t>
            </a:r>
            <a:r>
              <a:rPr lang="de-DE" sz="2400" b="1" i="1" dirty="0" err="1"/>
              <a:t>They</a:t>
            </a:r>
            <a:r>
              <a:rPr lang="de-DE" sz="2400" b="1" i="1" dirty="0"/>
              <a:t> </a:t>
            </a:r>
            <a:r>
              <a:rPr lang="de-DE" sz="2400" b="1" i="1" dirty="0" err="1"/>
              <a:t>have</a:t>
            </a:r>
            <a:r>
              <a:rPr lang="de-DE" sz="2400" b="1" i="1" dirty="0"/>
              <a:t> just </a:t>
            </a:r>
            <a:r>
              <a:rPr lang="de-DE" sz="2400" b="1" i="1" dirty="0" err="1"/>
              <a:t>enough</a:t>
            </a:r>
            <a:r>
              <a:rPr lang="de-DE" sz="2400" b="1" i="1" dirty="0"/>
              <a:t> </a:t>
            </a:r>
            <a:r>
              <a:rPr lang="de-DE" sz="2400" b="1" i="1" dirty="0" err="1"/>
              <a:t>structure</a:t>
            </a:r>
            <a:endParaRPr lang="de-DE" sz="1600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35B9CD4-EB59-467C-8AB1-EA18BD27C6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148" y="594896"/>
            <a:ext cx="5860850" cy="4163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8347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9041081" y="5629352"/>
            <a:ext cx="1631399" cy="3075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513" indent="-285582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2327" indent="-2284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99259" indent="-2284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6190" indent="-2284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3120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0051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6983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3914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nb-NO" altLang="de-DE" sz="999" dirty="0"/>
              <a:t>Working in a great team..        www.changetogrow.de</a:t>
            </a:r>
            <a:endParaRPr lang="en-GB" altLang="de-DE" sz="999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7289543" y="5736073"/>
            <a:ext cx="223690" cy="12311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513" indent="-285582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2327" indent="-2284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99259" indent="-2284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6190" indent="-228466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3120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0051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6983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3914" indent="-22846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7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0179641" y="5831774"/>
            <a:ext cx="65" cy="19992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299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65524" y="4815043"/>
            <a:ext cx="731197" cy="73729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2ED18E8-8E30-4E2B-B520-CCE42A71D86B}"/>
              </a:ext>
            </a:extLst>
          </p:cNvPr>
          <p:cNvSpPr txBox="1"/>
          <p:nvPr/>
        </p:nvSpPr>
        <p:spPr>
          <a:xfrm>
            <a:off x="1244237" y="2430171"/>
            <a:ext cx="2663238" cy="1568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398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All </a:t>
            </a:r>
            <a:r>
              <a:rPr lang="de-DE" sz="2398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teammembers</a:t>
            </a:r>
            <a:r>
              <a:rPr lang="de-DE" sz="2398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398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are</a:t>
            </a:r>
            <a:r>
              <a:rPr lang="de-DE" sz="2398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398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active</a:t>
            </a:r>
            <a:r>
              <a:rPr lang="de-DE" sz="2398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and </a:t>
            </a:r>
            <a:r>
              <a:rPr lang="de-DE" sz="2398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committed</a:t>
            </a:r>
            <a:r>
              <a:rPr lang="de-DE" sz="2398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!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DFD3AD7-2E4A-4376-93B0-16061F9C372C}"/>
              </a:ext>
            </a:extLst>
          </p:cNvPr>
          <p:cNvSpPr txBox="1"/>
          <p:nvPr/>
        </p:nvSpPr>
        <p:spPr>
          <a:xfrm>
            <a:off x="740621" y="774861"/>
            <a:ext cx="3670470" cy="8303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398" b="1" i="1" dirty="0"/>
              <a:t>4 </a:t>
            </a:r>
            <a:r>
              <a:rPr lang="de-DE" sz="2398" b="1" i="1" dirty="0" err="1"/>
              <a:t>They</a:t>
            </a:r>
            <a:r>
              <a:rPr lang="de-DE" sz="2398" b="1" i="1" dirty="0"/>
              <a:t> </a:t>
            </a:r>
            <a:r>
              <a:rPr lang="de-DE" sz="2398" b="1" i="1" dirty="0" err="1"/>
              <a:t>have</a:t>
            </a:r>
            <a:r>
              <a:rPr lang="de-DE" sz="2398" b="1" i="1" dirty="0"/>
              <a:t> </a:t>
            </a:r>
            <a:r>
              <a:rPr lang="de-DE" sz="2398" b="1" i="1" dirty="0" err="1"/>
              <a:t>full</a:t>
            </a:r>
            <a:r>
              <a:rPr lang="de-DE" sz="2398" b="1" i="1" dirty="0"/>
              <a:t> </a:t>
            </a:r>
            <a:r>
              <a:rPr lang="de-DE" sz="2398" b="1" i="1" dirty="0" err="1"/>
              <a:t>engagement</a:t>
            </a:r>
            <a:endParaRPr lang="de-DE" sz="1599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E9DC007-5DFC-4076-B3D1-D3FDC83B3F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9476" y="774862"/>
            <a:ext cx="5687512" cy="3796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1543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UspqIjtEOQv5j9jDn6L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oGmREjj0mFZ.RfinHoI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vG17yNTEyRIIyCPYGF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.eISXM0yH2bICbJ5S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QvnZvh.kCNhDAlmZcVu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heme/theme1.xml><?xml version="1.0" encoding="utf-8"?>
<a:theme xmlns:a="http://schemas.openxmlformats.org/drawingml/2006/main" name="KSB slide for powerpoint 2007">
  <a:themeElements>
    <a:clrScheme name="Larissa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34B93"/>
      </a:accent1>
      <a:accent2>
        <a:srgbClr val="4E81B3"/>
      </a:accent2>
      <a:accent3>
        <a:srgbClr val="9AB7D4"/>
      </a:accent3>
      <a:accent4>
        <a:srgbClr val="CDDBE9"/>
      </a:accent4>
      <a:accent5>
        <a:srgbClr val="C9C9C9"/>
      </a:accent5>
      <a:accent6>
        <a:srgbClr val="FF571F"/>
      </a:accent6>
      <a:hlink>
        <a:srgbClr val="034B93"/>
      </a:hlink>
      <a:folHlink>
        <a:srgbClr val="9AB7D4"/>
      </a:folHlink>
    </a:clrScheme>
    <a:fontScheme name="Designschriften KS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lIns="72000" tIns="72000" rIns="72000" bIns="7200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Custom Color 1">
      <a:srgbClr val="707070"/>
    </a:custClr>
    <a:custClr name="Custom Color 2">
      <a:srgbClr val="898989"/>
    </a:custClr>
    <a:custClr name="Custom Color 3">
      <a:srgbClr val="A0A0A0"/>
    </a:custClr>
    <a:custClr name="Custom Color 4">
      <a:srgbClr val="DCDCDC"/>
    </a:custClr>
    <a:custClr name="Custom Color 5">
      <a:srgbClr val="EEEEEE"/>
    </a:custClr>
    <a:custClr name="Custom Color 6">
      <a:srgbClr val="E5EDF4"/>
    </a:custClr>
    <a:custClr name="Custom Color 7">
      <a:srgbClr val="B3C9DE"/>
    </a:custClr>
    <a:custClr name="Custom Color 8">
      <a:srgbClr val="81A5C9"/>
    </a:custClr>
  </a:custClrLst>
</a:theme>
</file>

<file path=ppt/theme/theme2.xml><?xml version="1.0" encoding="utf-8"?>
<a:theme xmlns:a="http://schemas.openxmlformats.org/drawingml/2006/main" name="17_Standarddesign">
  <a:themeElements>
    <a:clrScheme name="17_Standarddesign 1">
      <a:dk1>
        <a:srgbClr val="707070"/>
      </a:dk1>
      <a:lt1>
        <a:srgbClr val="FFFFFF"/>
      </a:lt1>
      <a:dk2>
        <a:srgbClr val="000000"/>
      </a:dk2>
      <a:lt2>
        <a:srgbClr val="898989"/>
      </a:lt2>
      <a:accent1>
        <a:srgbClr val="CDDBE9"/>
      </a:accent1>
      <a:accent2>
        <a:srgbClr val="034B93"/>
      </a:accent2>
      <a:accent3>
        <a:srgbClr val="FFFFFF"/>
      </a:accent3>
      <a:accent4>
        <a:srgbClr val="5F5F5F"/>
      </a:accent4>
      <a:accent5>
        <a:srgbClr val="E3EAF2"/>
      </a:accent5>
      <a:accent6>
        <a:srgbClr val="024385"/>
      </a:accent6>
      <a:hlink>
        <a:srgbClr val="4E81B3"/>
      </a:hlink>
      <a:folHlink>
        <a:srgbClr val="9AB7D4"/>
      </a:folHlink>
    </a:clrScheme>
    <a:fontScheme name="17_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7_Standarddesign 1">
        <a:dk1>
          <a:srgbClr val="707070"/>
        </a:dk1>
        <a:lt1>
          <a:srgbClr val="FFFFFF"/>
        </a:lt1>
        <a:dk2>
          <a:srgbClr val="000000"/>
        </a:dk2>
        <a:lt2>
          <a:srgbClr val="898989"/>
        </a:lt2>
        <a:accent1>
          <a:srgbClr val="CDDBE9"/>
        </a:accent1>
        <a:accent2>
          <a:srgbClr val="034B93"/>
        </a:accent2>
        <a:accent3>
          <a:srgbClr val="FFFFFF"/>
        </a:accent3>
        <a:accent4>
          <a:srgbClr val="5F5F5F"/>
        </a:accent4>
        <a:accent5>
          <a:srgbClr val="E3EAF2"/>
        </a:accent5>
        <a:accent6>
          <a:srgbClr val="024385"/>
        </a:accent6>
        <a:hlink>
          <a:srgbClr val="4E81B3"/>
        </a:hlink>
        <a:folHlink>
          <a:srgbClr val="9AB7D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25D8790A571A4C89E7B16F6A10FDAB" ma:contentTypeVersion="0" ma:contentTypeDescription="Create a new document." ma:contentTypeScope="" ma:versionID="d588f669090bb2840e641fd6e00c8190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DBB6CEB0-1D38-4D8D-AC02-C2EBC15AFF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1BE46C3B-57DA-4F58-98CA-4C8F1D5B3E8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2EAE58-E733-4459-B8AF-85156907326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SB slide for powerpoint 2007</Template>
  <TotalTime>0</TotalTime>
  <Words>220</Words>
  <Application>Microsoft Office PowerPoint</Application>
  <PresentationFormat>Benutzerdefiniert</PresentationFormat>
  <Paragraphs>35</Paragraphs>
  <Slides>7</Slides>
  <Notes>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7</vt:i4>
      </vt:variant>
    </vt:vector>
  </HeadingPairs>
  <TitlesOfParts>
    <vt:vector size="15" baseType="lpstr">
      <vt:lpstr>Arial</vt:lpstr>
      <vt:lpstr>Calibri</vt:lpstr>
      <vt:lpstr>Roboto Condensed</vt:lpstr>
      <vt:lpstr>Wingdings</vt:lpstr>
      <vt:lpstr>KSB slide for powerpoint 2007</vt:lpstr>
      <vt:lpstr>17_Standarddesign</vt:lpstr>
      <vt:lpstr>think-cell Folie</vt:lpstr>
      <vt:lpstr>think-cell Slide</vt:lpstr>
      <vt:lpstr>Working in a great team… (1)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Goetze, Katharina</dc:creator>
  <cp:lastModifiedBy>Wolfgang Philipp Schmitt</cp:lastModifiedBy>
  <cp:revision>447</cp:revision>
  <dcterms:created xsi:type="dcterms:W3CDTF">2014-05-22T09:46:24Z</dcterms:created>
  <dcterms:modified xsi:type="dcterms:W3CDTF">2017-11-08T16:5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25D8790A571A4C89E7B16F6A10FDAB</vt:lpwstr>
  </property>
</Properties>
</file>